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0"/>
  </p:notesMasterIdLst>
  <p:sldIdLst>
    <p:sldId id="262" r:id="rId2"/>
    <p:sldId id="269" r:id="rId3"/>
    <p:sldId id="263" r:id="rId4"/>
    <p:sldId id="264" r:id="rId5"/>
    <p:sldId id="265" r:id="rId6"/>
    <p:sldId id="266" r:id="rId7"/>
    <p:sldId id="270" r:id="rId8"/>
    <p:sldId id="268" r:id="rId9"/>
  </p:sldIdLst>
  <p:sldSz cx="12192000" cy="6858000"/>
  <p:notesSz cx="6888163" cy="10018713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46" d="100"/>
          <a:sy n="46" d="100"/>
        </p:scale>
        <p:origin x="780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2075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61992B-131B-4976-8A8F-78F21D22B080}" type="datetimeFigureOut">
              <a:rPr lang="de-DE" smtClean="0"/>
              <a:t>07.11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975" y="4821238"/>
            <a:ext cx="5510213" cy="39449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517063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2075" y="9517063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B33B61-2FD0-47EC-ADE9-844835301E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9028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B33B61-2FD0-47EC-ADE9-844835301E77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6998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260649"/>
            <a:ext cx="768085" cy="628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543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447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536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369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08501" y="6080204"/>
            <a:ext cx="960107" cy="589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40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612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342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2185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774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436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8000"/>
                </a:solidFill>
              </a:defRPr>
            </a:lvl1pPr>
          </a:lstStyle>
          <a:p>
            <a:r>
              <a:rPr lang="de-DE" smtClean="0"/>
              <a:t>SBE - Vorsitzender Thomas Joh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8000"/>
                </a:solidFill>
              </a:defRPr>
            </a:lvl1pPr>
          </a:lstStyle>
          <a:p>
            <a:r>
              <a:rPr lang="de-DE" smtClean="0"/>
              <a:t>Sozialausschuss des Stadtrats - 06. November 2018</a:t>
            </a:r>
            <a:endParaRPr lang="de-DE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70" y="340963"/>
            <a:ext cx="736065" cy="811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 2" descr="SBE 260 genau!_2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7436" y="6044419"/>
            <a:ext cx="789074" cy="7024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6548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737600" y="5912285"/>
            <a:ext cx="2844800" cy="809191"/>
          </a:xfrm>
        </p:spPr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Bild 2" descr="SBE 260 genau!_2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0422" y="5951755"/>
            <a:ext cx="951978" cy="8091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56665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766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27000">
              <a:srgbClr val="008000">
                <a:lumMod val="32000"/>
                <a:lumOff val="68000"/>
                <a:alpha val="17000"/>
              </a:srgbClr>
            </a:gs>
            <a:gs pos="66000">
              <a:srgbClr val="E6E6E6">
                <a:lumMod val="92000"/>
                <a:alpha val="13000"/>
              </a:srgb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79856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Folie" r:id="rId16" imgW="286" imgH="286" progId="TCLayout.ActiveDocument.1">
                  <p:embed/>
                </p:oleObj>
              </mc:Choice>
              <mc:Fallback>
                <p:oleObj name="think-cell Folie" r:id="rId1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BE - Vorsitzender Thomas John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ozialausschuss des Stadtrats - 06. November 2018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4A53C4-B17B-467C-AA42-0822EDA3851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0800523" y="6198035"/>
            <a:ext cx="768085" cy="47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3958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2" r:id="rId8"/>
    <p:sldLayoutId id="2147483668" r:id="rId9"/>
    <p:sldLayoutId id="2147483669" r:id="rId10"/>
    <p:sldLayoutId id="2147483670" r:id="rId11"/>
    <p:sldLayoutId id="2147483671" r:id="rId12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eniorenbeirat-ebersberg.de/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/>
              <a:t>SBE - Vorsitzender Thomas Joh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ozialausschuss des Stadtrats - 06. November 2018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216617" y="1083129"/>
            <a:ext cx="9415220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de-DE" sz="1400" dirty="0" smtClean="0">
              <a:solidFill>
                <a:srgbClr val="008000"/>
              </a:solidFill>
            </a:endParaRPr>
          </a:p>
          <a:p>
            <a:pPr algn="ctr"/>
            <a:endParaRPr lang="de-DE" sz="3600" dirty="0" smtClean="0">
              <a:solidFill>
                <a:srgbClr val="008000"/>
              </a:solidFill>
            </a:endParaRPr>
          </a:p>
          <a:p>
            <a:pPr algn="ctr"/>
            <a:r>
              <a:rPr lang="de-DE" sz="6000" dirty="0" smtClean="0">
                <a:solidFill>
                  <a:srgbClr val="008000"/>
                </a:solidFill>
              </a:rPr>
              <a:t>SENIORENBEIRAT EBERSBERG</a:t>
            </a:r>
          </a:p>
          <a:p>
            <a:pPr algn="ctr"/>
            <a:r>
              <a:rPr lang="de-DE" sz="4400" dirty="0" smtClean="0">
                <a:solidFill>
                  <a:srgbClr val="008000"/>
                </a:solidFill>
              </a:rPr>
              <a:t/>
            </a:r>
            <a:br>
              <a:rPr lang="de-DE" sz="4400" dirty="0" smtClean="0">
                <a:solidFill>
                  <a:srgbClr val="008000"/>
                </a:solidFill>
              </a:rPr>
            </a:br>
            <a:r>
              <a:rPr lang="de-DE" sz="4400" dirty="0" smtClean="0">
                <a:solidFill>
                  <a:srgbClr val="008000"/>
                </a:solidFill>
              </a:rPr>
              <a:t>Sozialausschuss des Stadtrats</a:t>
            </a:r>
          </a:p>
          <a:p>
            <a:pPr algn="ctr"/>
            <a:r>
              <a:rPr lang="de-DE" sz="4400" dirty="0">
                <a:solidFill>
                  <a:srgbClr val="008000"/>
                </a:solidFill>
              </a:rPr>
              <a:t>Statusbericht </a:t>
            </a:r>
            <a:r>
              <a:rPr lang="de-DE" sz="4400" dirty="0" smtClean="0">
                <a:solidFill>
                  <a:srgbClr val="008000"/>
                </a:solidFill>
              </a:rPr>
              <a:t>06.11.2018</a:t>
            </a:r>
          </a:p>
        </p:txBody>
      </p:sp>
    </p:spTree>
    <p:extLst>
      <p:ext uri="{BB962C8B-B14F-4D97-AF65-F5344CB8AC3E}">
        <p14:creationId xmlns:p14="http://schemas.microsoft.com/office/powerpoint/2010/main" val="3723930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/>
              <a:t>SBE - Vorsitzender Thomas Joh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ozialausschuss des Stadtrats - 06. November 2018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216617" y="418454"/>
            <a:ext cx="98104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 smtClean="0">
                <a:solidFill>
                  <a:srgbClr val="008000"/>
                </a:solidFill>
              </a:rPr>
              <a:t>AGENDA</a:t>
            </a:r>
            <a:endParaRPr lang="de-DE" sz="3200" dirty="0">
              <a:solidFill>
                <a:srgbClr val="008000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441702" y="1557579"/>
            <a:ext cx="1105804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ct val="200000"/>
              </a:lnSpc>
              <a:buFont typeface="+mj-lt"/>
              <a:buAutoNum type="arabicPeriod"/>
            </a:pPr>
            <a:r>
              <a:rPr lang="de-DE" sz="2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NIORENBEIRAT IM PROFIL</a:t>
            </a:r>
          </a:p>
          <a:p>
            <a:pPr marL="514350" indent="-514350">
              <a:lnSpc>
                <a:spcPct val="200000"/>
              </a:lnSpc>
              <a:buFont typeface="+mj-lt"/>
              <a:buAutoNum type="arabicPeriod"/>
            </a:pPr>
            <a:r>
              <a:rPr lang="de-DE" sz="2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ERANSTALTUNGEN IM KALENDERJAHR 2018</a:t>
            </a:r>
          </a:p>
          <a:p>
            <a:pPr marL="514350" indent="-514350">
              <a:lnSpc>
                <a:spcPct val="200000"/>
              </a:lnSpc>
              <a:buFont typeface="+mj-lt"/>
              <a:buAutoNum type="arabicPeriod"/>
            </a:pPr>
            <a:r>
              <a:rPr lang="de-DE" sz="2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ATUS PROJEKTE IN DER UMSETZUNG SEIT 2014</a:t>
            </a:r>
          </a:p>
          <a:p>
            <a:pPr marL="514350" indent="-514350">
              <a:lnSpc>
                <a:spcPct val="200000"/>
              </a:lnSpc>
              <a:buFont typeface="+mj-lt"/>
              <a:buAutoNum type="arabicPeriod"/>
            </a:pPr>
            <a:r>
              <a:rPr lang="de-DE" sz="2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ATUS PROJEKTE IN DER PLANUNG AB 2019</a:t>
            </a:r>
          </a:p>
        </p:txBody>
      </p:sp>
    </p:spTree>
    <p:extLst>
      <p:ext uri="{BB962C8B-B14F-4D97-AF65-F5344CB8AC3E}">
        <p14:creationId xmlns:p14="http://schemas.microsoft.com/office/powerpoint/2010/main" val="52105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287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/>
              <a:t>SBE - Vorsitzender Thomas Joh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Sozialausschuss des Stadtrats - 06. November 2018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441699" y="1227671"/>
            <a:ext cx="11158782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it dem 26.05.2014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erstützt ein gewählter Seniorenbeirat die Stadt Ebersberg. </a:t>
            </a:r>
          </a:p>
          <a:p>
            <a:pPr>
              <a:spcAft>
                <a:spcPts val="0"/>
              </a:spcAft>
            </a:pP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Zusammensetzung des Beirats hat sich wie folgt geändert: 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. Hans Schröder hat aus gesundheitlichen Gründen darum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beten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seine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beit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irat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enden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lfgang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inkmann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t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it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16.03.2017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mäß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tzung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gerückt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u Roswitha Hülser hat 2018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rum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beten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hre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ätigkeit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niorenbeirat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enden</a:t>
            </a:r>
            <a:r>
              <a:rPr lang="en-US" sz="20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m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ch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hren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eren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zialen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/>
              <a:t>Engagements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dmen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</a:t>
            </a:r>
            <a:r>
              <a:rPr lang="en-US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önnen</a:t>
            </a:r>
            <a:r>
              <a:rPr lang="en-US" sz="20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r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uelle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irat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at 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tglieder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</a:p>
          <a:p>
            <a:pPr>
              <a:spcAft>
                <a:spcPts val="0"/>
              </a:spcAft>
            </a:pPr>
            <a:endParaRPr lang="en-US" sz="1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92480" indent="-342900">
              <a:spcAft>
                <a:spcPts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omas John /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sitzender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92480" indent="-342900">
              <a:spcAft>
                <a:spcPts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rin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arl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/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ellv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sitzende</a:t>
            </a:r>
            <a:endParaRPr lang="en-US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92480" indent="-342900">
              <a:spcAft>
                <a:spcPts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udith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arnagl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/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atzmeisterin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92480" indent="-342900">
              <a:spcAft>
                <a:spcPts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fred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pp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/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tokollführer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92480" indent="-342900">
              <a:spcAft>
                <a:spcPts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. Edward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feso</a:t>
            </a:r>
            <a:endParaRPr lang="en-US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92480" indent="-342900">
              <a:spcAft>
                <a:spcPts val="0"/>
              </a:spcAft>
              <a:buFont typeface="+mj-lt"/>
              <a:buAutoNum type="arabicPeriod"/>
            </a:pP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lfgang </a:t>
            </a:r>
            <a:r>
              <a:rPr lang="en-US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inkmann</a:t>
            </a:r>
            <a:r>
              <a:rPr lang="en-US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7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1542081" y="366623"/>
            <a:ext cx="9120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de-DE" b="1" dirty="0"/>
          </a:p>
        </p:txBody>
      </p:sp>
      <p:sp>
        <p:nvSpPr>
          <p:cNvPr id="6" name="Textfeld 5"/>
          <p:cNvSpPr txBox="1"/>
          <p:nvPr/>
        </p:nvSpPr>
        <p:spPr>
          <a:xfrm>
            <a:off x="1216616" y="366623"/>
            <a:ext cx="95392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 smtClean="0">
                <a:solidFill>
                  <a:srgbClr val="008000"/>
                </a:solidFill>
              </a:rPr>
              <a:t>SENIORENBEIRAT IM PROFIL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8218" y="3707386"/>
            <a:ext cx="2819400" cy="2505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3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/>
              <a:t>SBE - Vorsitzender Thomas Joh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ozialausschuss des Stadtrats - 06. November 2018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457200" y="1243347"/>
            <a:ext cx="11174278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sere Homepage wird in Anspruch genommen. Hier berichten wir Tages-aktuell über Senioren relevante Ereignisse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www.seniorenbeirat-ebersberg.de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r sind auf Facebook vertreten und platzieren dort unsere Themen.</a:t>
            </a:r>
          </a:p>
          <a:p>
            <a:pPr>
              <a:spcAft>
                <a:spcPts val="0"/>
              </a:spcAft>
            </a:pP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 wie vor haben wir in 14-tägigem Rhythmus Sprechstunden im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milienzentrum, sind 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lefonisch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wie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 Mail zu erreichen und geben Hilfestellung bei aktuellen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gen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de-DE" sz="2000" u="none" strike="noStrike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ttlerweile hatten wir unsere 39. Beiratssitzung, ordnungsgemäß führen wir Protokoll.</a:t>
            </a:r>
          </a:p>
          <a:p>
            <a:pPr>
              <a:spcAft>
                <a:spcPts val="0"/>
              </a:spcAft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Zusammenarbeit mit dem Landratsamt Ebersberg hat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ch im Jahr 2018 gut weiterentwickelt. Unsere Ansprechpartner sind Herr Jochen Specht, Teamleiter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bteilung Jugend, Familie und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emografie, sowie Frau Angela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mmersperger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</a:t>
            </a:r>
          </a:p>
          <a:p>
            <a:pPr>
              <a:spcAft>
                <a:spcPts val="0"/>
              </a:spcAft>
            </a:pP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 Seniorenbeirat Ebersberg ist mit seiner Arbeit und so manchem Thema gut in der örtlichen Presse vertreten.</a:t>
            </a:r>
            <a:endParaRPr lang="de-DE" sz="20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1201119" y="402956"/>
            <a:ext cx="9794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 smtClean="0">
                <a:solidFill>
                  <a:srgbClr val="008000"/>
                </a:solidFill>
              </a:rPr>
              <a:t>SENIORENBEIRAT IM PROFIL </a:t>
            </a:r>
            <a:endParaRPr lang="de-DE" sz="3200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633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SBE - Vorsitzender Thomas Joh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ozialausschuss des Stadtrats - 06. November 2018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457198" y="1428343"/>
            <a:ext cx="1112778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hrenamtsmesse mit großem Erfolg.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9580">
              <a:spcAft>
                <a:spcPts val="0"/>
              </a:spcAft>
            </a:pP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zertveranstaltung „Oper im Taschenformat – Don Pasquale“ am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8.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tober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18 im Alten Speicher.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toren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BE in Zusammenarbeit mit der Stadt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bersberg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de-DE" sz="20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1193369" y="418454"/>
            <a:ext cx="97174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 smtClean="0">
                <a:solidFill>
                  <a:srgbClr val="008000"/>
                </a:solidFill>
              </a:rPr>
              <a:t> VERANSTALTUNGEN IM KALENDERJAHR 2018</a:t>
            </a:r>
            <a:endParaRPr lang="de-DE" sz="3200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647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SBE - Vorsitzender Thomas Joh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178300" y="6356350"/>
            <a:ext cx="3860800" cy="365125"/>
          </a:xfrm>
        </p:spPr>
        <p:txBody>
          <a:bodyPr/>
          <a:lstStyle/>
          <a:p>
            <a:r>
              <a:rPr lang="de-DE" smtClean="0"/>
              <a:t>Sozialausschuss des Stadtrats - 06. November 2018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449450" y="1380673"/>
            <a:ext cx="1108903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r Seniorenbeirat hat zusammen mit dem Verschönerungsverein Ebersberg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zwischen 10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eue</a:t>
            </a:r>
          </a:p>
          <a:p>
            <a:pPr>
              <a:spcAft>
                <a:spcPts val="0"/>
              </a:spcAft>
            </a:pP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   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itzbänke im Stadtgebiet Ebersberg realisiert.  Weitere Spenderbänke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der Pipeline.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	</a:t>
            </a:r>
            <a:r>
              <a:rPr lang="de-DE" sz="2000" i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ie besondere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mpelschaltung zur Verlängerung der Grünphase für Senioren und Menschen mit Gehbehinderung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st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n der Ampelanlage Marienplatz, sowie an der Ampelanlage Eberhardstraße im Oktober in Betrieb gegangen. Die Ausgabe der Chips erfolgt im Bürgerbüro. Mit Hinweis Flyern unterstützt der Seniorenbeirat die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rbreitung der Information.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s Projekt „Zebrastreifen“ an 3 Stellen im Stadtgebiet für eine sichere Überquerung der Kreuzung ist fraglich. Die zuständigen Stellen haben die Situation geprüft. Fazit: Es sollen vorerst 2 Warnhinweise </a:t>
            </a:r>
            <a:r>
              <a:rPr lang="de-DE" sz="2000" b="1" i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„</a:t>
            </a:r>
            <a:r>
              <a:rPr lang="de-DE" sz="2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Gefahrzeichen </a:t>
            </a:r>
            <a:r>
              <a:rPr lang="de-DE" sz="20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ach Anlage 1 zu § 40 StVO: Verkehrszeichen 133 </a:t>
            </a:r>
            <a:r>
              <a:rPr lang="de-DE" sz="2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Fußgänger“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zeitnah</a:t>
            </a:r>
            <a:r>
              <a:rPr lang="de-DE" sz="20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ealisiert werden.</a:t>
            </a:r>
            <a:endParaRPr lang="de-DE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eniorenparkplätze am Einkaufszentrum, Edeka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nd Aldi konnten bisher nicht realisiert werden. Weiterhin sind diese Parkplätze jedoch sehr wünschenswert.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r>
              <a:rPr lang="de-DE" sz="2000" dirty="0" smtClean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de-DE" sz="20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1208867" y="410705"/>
            <a:ext cx="102443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 smtClean="0">
                <a:solidFill>
                  <a:srgbClr val="008000"/>
                </a:solidFill>
              </a:rPr>
              <a:t>STATUS PROJEKTE IN DER UMSETZUNG SEIT 2014</a:t>
            </a:r>
            <a:endParaRPr lang="de-DE" sz="2800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185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SBE - Vorsitzender Thomas Joh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ozialausschuss des Stadtrats - 06. November 2018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433950" y="1027028"/>
            <a:ext cx="11089037" cy="5863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de-DE" sz="1000" smtClean="0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ojekt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„Mitfahrerbänke“ kurz vor der Einführung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ehlende öffentliche Toiletten im Stadtgebiet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leuchtungssituation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nserer Innenstadt.</a:t>
            </a:r>
            <a:endParaRPr lang="de-DE" sz="2000" dirty="0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rbeitsgruppe „Verkehr Innenstadt und St 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80“.</a:t>
            </a:r>
            <a:endParaRPr lang="de-DE" sz="2000" dirty="0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tersarmut und Inanspruchnahme von Unterstützung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nsive Aufklärungsarbeit evtl. durch Workshops und Seminare für mobile „Jung Rentner“ / zukünftige Rentner zum Thema Krankenversicherung, Pflegeversicherung, Unterstützungsleistungen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ise MVV – S-Bahn Tarif via München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rreichbarkeit bei Notruf/Funkabdeckung Ebersberg, Inanspruchnahme des Mobilfunk-Förderprogramms, freies </a:t>
            </a:r>
            <a:r>
              <a:rPr lang="de-DE" sz="2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Lan</a:t>
            </a: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de-DE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Änderung des Telemediengesetzes" (</a:t>
            </a:r>
            <a:r>
              <a:rPr lang="de-DE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MG</a:t>
            </a:r>
            <a:r>
              <a:rPr lang="de-DE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Zur Unterstützung gibt es ein Programm vom Heimatministerium (Stand September 2018) Unter dem Titel Bayer W-</a:t>
            </a:r>
            <a:r>
              <a:rPr lang="de-DE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n</a:t>
            </a:r>
            <a:r>
              <a:rPr lang="de-DE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Mobilfunk-Förderprogramms) </a:t>
            </a:r>
            <a:r>
              <a:rPr lang="de-DE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bt es erhebliche Förderung für die Gemeinden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2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hachspiel </a:t>
            </a:r>
            <a:r>
              <a:rPr lang="de-DE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 Klosterhof.</a:t>
            </a:r>
          </a:p>
          <a:p>
            <a:pPr>
              <a:lnSpc>
                <a:spcPct val="150000"/>
              </a:lnSpc>
            </a:pPr>
            <a:endParaRPr lang="de-DE" sz="20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1208866" y="495945"/>
            <a:ext cx="102443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dirty="0" smtClean="0">
                <a:solidFill>
                  <a:srgbClr val="008000"/>
                </a:solidFill>
              </a:rPr>
              <a:t>STATUS PROJEKTE IN PLANUNG AB KJ 2019</a:t>
            </a:r>
            <a:endParaRPr lang="de-DE" sz="2800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298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SBE - Vorsitzender Thomas Joh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Sozialausschuss des Stadtrats - 06. November 2018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457198" y="1089550"/>
            <a:ext cx="11205277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de-DE" sz="3800" dirty="0" smtClean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en herzlichen Dank </a:t>
            </a:r>
            <a:r>
              <a:rPr lang="de-DE" sz="3800" dirty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 die Stadt</a:t>
            </a:r>
            <a:r>
              <a:rPr lang="de-DE" sz="3800" dirty="0" smtClean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</a:p>
          <a:p>
            <a:pPr algn="ctr">
              <a:spcAft>
                <a:spcPts val="0"/>
              </a:spcAft>
            </a:pPr>
            <a:r>
              <a:rPr lang="de-DE" sz="3800" dirty="0" smtClean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ctr">
              <a:spcAft>
                <a:spcPts val="0"/>
              </a:spcAft>
            </a:pPr>
            <a:r>
              <a:rPr lang="de-DE" sz="3800" dirty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de-DE" sz="3800" dirty="0" smtClean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sbesondere Herrn </a:t>
            </a:r>
            <a:r>
              <a:rPr lang="de-DE" sz="3800" dirty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ürgermeister </a:t>
            </a:r>
            <a:r>
              <a:rPr lang="de-DE" sz="3800" dirty="0" err="1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ilmayer</a:t>
            </a:r>
            <a:r>
              <a:rPr lang="de-DE" sz="3800" dirty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endParaRPr lang="de-DE" sz="3800" dirty="0" smtClean="0">
              <a:solidFill>
                <a:srgbClr val="008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endParaRPr lang="de-DE" sz="3800" dirty="0" smtClean="0">
              <a:solidFill>
                <a:srgbClr val="008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de-DE" sz="3800" dirty="0" smtClean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u </a:t>
            </a:r>
            <a:r>
              <a:rPr lang="de-DE" sz="3800" dirty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fleger und Herrn Hölzer</a:t>
            </a:r>
            <a:r>
              <a:rPr lang="de-DE" sz="3800" dirty="0" smtClean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</a:p>
          <a:p>
            <a:pPr algn="ctr">
              <a:spcAft>
                <a:spcPts val="0"/>
              </a:spcAft>
            </a:pPr>
            <a:r>
              <a:rPr lang="de-DE" sz="3800" dirty="0" smtClean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ctr">
              <a:spcAft>
                <a:spcPts val="0"/>
              </a:spcAft>
            </a:pPr>
            <a:r>
              <a:rPr lang="de-DE" sz="3800" dirty="0" smtClean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</a:t>
            </a:r>
            <a:r>
              <a:rPr lang="de-DE" sz="3800" dirty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ür unsere </a:t>
            </a:r>
            <a:r>
              <a:rPr lang="de-DE" sz="3800" dirty="0" smtClean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liegen </a:t>
            </a:r>
            <a:r>
              <a:rPr lang="de-DE" sz="3800" dirty="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mer ein offenes Ohr haben.</a:t>
            </a:r>
          </a:p>
        </p:txBody>
      </p:sp>
    </p:spTree>
    <p:extLst>
      <p:ext uri="{BB962C8B-B14F-4D97-AF65-F5344CB8AC3E}">
        <p14:creationId xmlns:p14="http://schemas.microsoft.com/office/powerpoint/2010/main" val="3658837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8</Words>
  <Application>Microsoft Office PowerPoint</Application>
  <PresentationFormat>Breitbild</PresentationFormat>
  <Paragraphs>83</Paragraphs>
  <Slides>8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rial</vt:lpstr>
      <vt:lpstr>Calibri</vt:lpstr>
      <vt:lpstr>Times New Roman</vt:lpstr>
      <vt:lpstr>Wingdings</vt:lpstr>
      <vt:lpstr>Larissa-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des Seniorenbeirats Ebersberg  am 7. November 2017 im Sozialausschuss des Stadtrats</dc:title>
  <dc:creator>micro@thomasjohn.net</dc:creator>
  <cp:lastModifiedBy>Thomas John</cp:lastModifiedBy>
  <cp:revision>96</cp:revision>
  <cp:lastPrinted>2018-03-27T07:24:52Z</cp:lastPrinted>
  <dcterms:created xsi:type="dcterms:W3CDTF">2017-11-04T14:55:44Z</dcterms:created>
  <dcterms:modified xsi:type="dcterms:W3CDTF">2018-11-07T06:02:16Z</dcterms:modified>
</cp:coreProperties>
</file>